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36045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722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cm.co.uk/planner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14B88BB6-40BB-4F43-8DF1-B7D38123CE9D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58" b="37985"/>
          <a:stretch/>
        </p:blipFill>
        <p:spPr>
          <a:xfrm>
            <a:off x="6934200" y="1371600"/>
            <a:ext cx="6121400" cy="5092700"/>
          </a:xfrm>
        </p:spPr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5 October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dam Driver, Jodie Comer, Matt Damon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Ridley Scott (</a:t>
            </a:r>
            <a:r>
              <a:rPr lang="en-US" i="1" dirty="0">
                <a:solidFill>
                  <a:schemeClr val="accent6"/>
                </a:solidFill>
              </a:rPr>
              <a:t>The Martian, Alien Covenant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The Revenant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The Last Duel </a:t>
            </a:r>
            <a:r>
              <a:rPr lang="en-US" dirty="0">
                <a:solidFill>
                  <a:schemeClr val="accent6"/>
                </a:solidFill>
              </a:rPr>
              <a:t>marks legendary director Ridley Scott’s return to cinema after 2017’s </a:t>
            </a:r>
            <a:r>
              <a:rPr lang="en-US" i="1" dirty="0">
                <a:solidFill>
                  <a:schemeClr val="accent6"/>
                </a:solidFill>
              </a:rPr>
              <a:t>All the Money in the World</a:t>
            </a:r>
            <a:r>
              <a:rPr lang="en-US" dirty="0">
                <a:solidFill>
                  <a:schemeClr val="accent6"/>
                </a:solidFill>
              </a:rPr>
              <a:t>, working from a script by Ben Affleck and Matt Damon</a:t>
            </a:r>
            <a:endParaRPr lang="en-US" i="1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BC1 Adults Index: 137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709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King Charles VI challenges a young knight to a duel to settle a dispute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The last du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A cinematic visionary returns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2129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2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The last duel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4 2021</dc:title>
  <dc:creator/>
  <dc:description>The last duel</dc:description>
  <cp:lastModifiedBy/>
  <cp:revision>1</cp:revision>
  <dcterms:created xsi:type="dcterms:W3CDTF">2019-03-25T11:13:20Z</dcterms:created>
  <dcterms:modified xsi:type="dcterms:W3CDTF">2021-07-07T10:36:15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4 2021</vt:lpwstr>
  </property>
  <property fmtid="{D5CDD505-2E9C-101B-9397-08002B2CF9AE}" pid="4" name="SlideDescription">
    <vt:lpwstr>The last duel</vt:lpwstr>
  </property>
</Properties>
</file>